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0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23A5A2-90D5-4BE4-B80D-39A8F1C41292}" v="49" dt="2023-03-10T00:25:17.1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0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A23A5A2-90D5-4BE4-B80D-39A8F1C41292}"/>
    <pc:docChg chg="modSld">
      <pc:chgData name="Roberto Gallardo" userId="49a044883f185952" providerId="LiveId" clId="{FA23A5A2-90D5-4BE4-B80D-39A8F1C41292}" dt="2023-03-10T00:25:23.497" v="368" actId="1035"/>
      <pc:docMkLst>
        <pc:docMk/>
      </pc:docMkLst>
      <pc:sldChg chg="addSp modSp mod">
        <pc:chgData name="Roberto Gallardo" userId="49a044883f185952" providerId="LiveId" clId="{FA23A5A2-90D5-4BE4-B80D-39A8F1C41292}" dt="2023-03-10T00:20:31.749" v="65" actId="1076"/>
        <pc:sldMkLst>
          <pc:docMk/>
          <pc:sldMk cId="1418533539" sldId="271"/>
        </pc:sldMkLst>
        <pc:picChg chg="add mod">
          <ac:chgData name="Roberto Gallardo" userId="49a044883f185952" providerId="LiveId" clId="{FA23A5A2-90D5-4BE4-B80D-39A8F1C41292}" dt="2023-03-10T00:20:31.749" v="65" actId="1076"/>
          <ac:picMkLst>
            <pc:docMk/>
            <pc:sldMk cId="1418533539" sldId="271"/>
            <ac:picMk id="6" creationId="{5BB462DF-2C44-30CA-A650-AA4880C8C141}"/>
          </ac:picMkLst>
        </pc:picChg>
      </pc:sldChg>
      <pc:sldChg chg="addSp modSp mod">
        <pc:chgData name="Roberto Gallardo" userId="49a044883f185952" providerId="LiveId" clId="{FA23A5A2-90D5-4BE4-B80D-39A8F1C41292}" dt="2023-03-10T00:22:21.781" v="150" actId="1036"/>
        <pc:sldMkLst>
          <pc:docMk/>
          <pc:sldMk cId="2124848710" sldId="281"/>
        </pc:sldMkLst>
        <pc:picChg chg="add mod">
          <ac:chgData name="Roberto Gallardo" userId="49a044883f185952" providerId="LiveId" clId="{FA23A5A2-90D5-4BE4-B80D-39A8F1C41292}" dt="2023-03-10T00:22:21.781" v="150" actId="1036"/>
          <ac:picMkLst>
            <pc:docMk/>
            <pc:sldMk cId="2124848710" sldId="281"/>
            <ac:picMk id="6" creationId="{5C3D985C-4A42-7D55-DE1E-4E7633A96EC4}"/>
          </ac:picMkLst>
        </pc:picChg>
      </pc:sldChg>
      <pc:sldChg chg="addSp modSp mod">
        <pc:chgData name="Roberto Gallardo" userId="49a044883f185952" providerId="LiveId" clId="{FA23A5A2-90D5-4BE4-B80D-39A8F1C41292}" dt="2023-03-10T00:22:37.417" v="171" actId="1036"/>
        <pc:sldMkLst>
          <pc:docMk/>
          <pc:sldMk cId="2028175529" sldId="282"/>
        </pc:sldMkLst>
        <pc:picChg chg="add mod">
          <ac:chgData name="Roberto Gallardo" userId="49a044883f185952" providerId="LiveId" clId="{FA23A5A2-90D5-4BE4-B80D-39A8F1C41292}" dt="2023-03-10T00:22:37.417" v="171" actId="1036"/>
          <ac:picMkLst>
            <pc:docMk/>
            <pc:sldMk cId="2028175529" sldId="282"/>
            <ac:picMk id="7" creationId="{E6446D05-E329-969D-12B1-7DDF27E4AC8E}"/>
          </ac:picMkLst>
        </pc:picChg>
      </pc:sldChg>
      <pc:sldChg chg="addSp modSp mod">
        <pc:chgData name="Roberto Gallardo" userId="49a044883f185952" providerId="LiveId" clId="{FA23A5A2-90D5-4BE4-B80D-39A8F1C41292}" dt="2023-03-10T00:22:53.286" v="186" actId="1036"/>
        <pc:sldMkLst>
          <pc:docMk/>
          <pc:sldMk cId="1326517747" sldId="283"/>
        </pc:sldMkLst>
        <pc:picChg chg="add mod">
          <ac:chgData name="Roberto Gallardo" userId="49a044883f185952" providerId="LiveId" clId="{FA23A5A2-90D5-4BE4-B80D-39A8F1C41292}" dt="2023-03-10T00:22:53.286" v="186" actId="1036"/>
          <ac:picMkLst>
            <pc:docMk/>
            <pc:sldMk cId="1326517747" sldId="283"/>
            <ac:picMk id="7" creationId="{64576636-C21E-052A-AD8D-197D853B0972}"/>
          </ac:picMkLst>
        </pc:picChg>
      </pc:sldChg>
      <pc:sldChg chg="addSp modSp mod">
        <pc:chgData name="Roberto Gallardo" userId="49a044883f185952" providerId="LiveId" clId="{FA23A5A2-90D5-4BE4-B80D-39A8F1C41292}" dt="2023-03-10T00:23:06.906" v="207" actId="1036"/>
        <pc:sldMkLst>
          <pc:docMk/>
          <pc:sldMk cId="783739251" sldId="284"/>
        </pc:sldMkLst>
        <pc:picChg chg="add mod">
          <ac:chgData name="Roberto Gallardo" userId="49a044883f185952" providerId="LiveId" clId="{FA23A5A2-90D5-4BE4-B80D-39A8F1C41292}" dt="2023-03-10T00:23:06.906" v="207" actId="1036"/>
          <ac:picMkLst>
            <pc:docMk/>
            <pc:sldMk cId="783739251" sldId="284"/>
            <ac:picMk id="7" creationId="{DB216246-B716-53E5-0A52-2292978B9DF3}"/>
          </ac:picMkLst>
        </pc:picChg>
      </pc:sldChg>
      <pc:sldChg chg="addSp modSp mod">
        <pc:chgData name="Roberto Gallardo" userId="49a044883f185952" providerId="LiveId" clId="{FA23A5A2-90D5-4BE4-B80D-39A8F1C41292}" dt="2023-03-10T00:23:21.318" v="227" actId="1035"/>
        <pc:sldMkLst>
          <pc:docMk/>
          <pc:sldMk cId="1676122233" sldId="285"/>
        </pc:sldMkLst>
        <pc:picChg chg="add mod">
          <ac:chgData name="Roberto Gallardo" userId="49a044883f185952" providerId="LiveId" clId="{FA23A5A2-90D5-4BE4-B80D-39A8F1C41292}" dt="2023-03-10T00:23:21.318" v="227" actId="1035"/>
          <ac:picMkLst>
            <pc:docMk/>
            <pc:sldMk cId="1676122233" sldId="285"/>
            <ac:picMk id="7" creationId="{CDEC7B12-BFB5-A07A-91D3-4772DE701B8F}"/>
          </ac:picMkLst>
        </pc:picChg>
      </pc:sldChg>
      <pc:sldChg chg="addSp modSp mod">
        <pc:chgData name="Roberto Gallardo" userId="49a044883f185952" providerId="LiveId" clId="{FA23A5A2-90D5-4BE4-B80D-39A8F1C41292}" dt="2023-03-10T00:23:35.550" v="249" actId="1036"/>
        <pc:sldMkLst>
          <pc:docMk/>
          <pc:sldMk cId="3100398757" sldId="286"/>
        </pc:sldMkLst>
        <pc:picChg chg="add mod">
          <ac:chgData name="Roberto Gallardo" userId="49a044883f185952" providerId="LiveId" clId="{FA23A5A2-90D5-4BE4-B80D-39A8F1C41292}" dt="2023-03-10T00:23:35.550" v="249" actId="1036"/>
          <ac:picMkLst>
            <pc:docMk/>
            <pc:sldMk cId="3100398757" sldId="286"/>
            <ac:picMk id="7" creationId="{BC70C8A5-553E-E6BD-5D35-A735453E1B37}"/>
          </ac:picMkLst>
        </pc:picChg>
      </pc:sldChg>
      <pc:sldChg chg="addSp modSp mod">
        <pc:chgData name="Roberto Gallardo" userId="49a044883f185952" providerId="LiveId" clId="{FA23A5A2-90D5-4BE4-B80D-39A8F1C41292}" dt="2023-03-10T00:23:49.978" v="269" actId="1036"/>
        <pc:sldMkLst>
          <pc:docMk/>
          <pc:sldMk cId="1546475425" sldId="287"/>
        </pc:sldMkLst>
        <pc:picChg chg="add mod">
          <ac:chgData name="Roberto Gallardo" userId="49a044883f185952" providerId="LiveId" clId="{FA23A5A2-90D5-4BE4-B80D-39A8F1C41292}" dt="2023-03-10T00:23:49.978" v="269" actId="1036"/>
          <ac:picMkLst>
            <pc:docMk/>
            <pc:sldMk cId="1546475425" sldId="287"/>
            <ac:picMk id="7" creationId="{22D74A49-B944-7F99-11B6-5E2FA6B6C46D}"/>
          </ac:picMkLst>
        </pc:picChg>
      </pc:sldChg>
      <pc:sldChg chg="addSp modSp mod">
        <pc:chgData name="Roberto Gallardo" userId="49a044883f185952" providerId="LiveId" clId="{FA23A5A2-90D5-4BE4-B80D-39A8F1C41292}" dt="2023-03-10T00:24:25.681" v="310" actId="1036"/>
        <pc:sldMkLst>
          <pc:docMk/>
          <pc:sldMk cId="1380517306" sldId="288"/>
        </pc:sldMkLst>
        <pc:picChg chg="add mod">
          <ac:chgData name="Roberto Gallardo" userId="49a044883f185952" providerId="LiveId" clId="{FA23A5A2-90D5-4BE4-B80D-39A8F1C41292}" dt="2023-03-10T00:24:25.681" v="310" actId="1036"/>
          <ac:picMkLst>
            <pc:docMk/>
            <pc:sldMk cId="1380517306" sldId="288"/>
            <ac:picMk id="7" creationId="{63FB9B1B-D4AC-E30F-BF1F-CD3CF127A249}"/>
          </ac:picMkLst>
        </pc:picChg>
      </pc:sldChg>
      <pc:sldChg chg="addSp modSp mod">
        <pc:chgData name="Roberto Gallardo" userId="49a044883f185952" providerId="LiveId" clId="{FA23A5A2-90D5-4BE4-B80D-39A8F1C41292}" dt="2023-03-10T00:24:40.025" v="326" actId="1035"/>
        <pc:sldMkLst>
          <pc:docMk/>
          <pc:sldMk cId="1388671151" sldId="289"/>
        </pc:sldMkLst>
        <pc:picChg chg="add mod">
          <ac:chgData name="Roberto Gallardo" userId="49a044883f185952" providerId="LiveId" clId="{FA23A5A2-90D5-4BE4-B80D-39A8F1C41292}" dt="2023-03-10T00:24:40.025" v="326" actId="1035"/>
          <ac:picMkLst>
            <pc:docMk/>
            <pc:sldMk cId="1388671151" sldId="289"/>
            <ac:picMk id="7" creationId="{0DB2A5FA-C1B0-88D7-68BE-95C387FB1DD0}"/>
          </ac:picMkLst>
        </pc:picChg>
      </pc:sldChg>
      <pc:sldChg chg="addSp modSp mod">
        <pc:chgData name="Roberto Gallardo" userId="49a044883f185952" providerId="LiveId" clId="{FA23A5A2-90D5-4BE4-B80D-39A8F1C41292}" dt="2023-03-10T00:25:10.985" v="358" actId="1035"/>
        <pc:sldMkLst>
          <pc:docMk/>
          <pc:sldMk cId="2355376039" sldId="290"/>
        </pc:sldMkLst>
        <pc:picChg chg="add mod">
          <ac:chgData name="Roberto Gallardo" userId="49a044883f185952" providerId="LiveId" clId="{FA23A5A2-90D5-4BE4-B80D-39A8F1C41292}" dt="2023-03-10T00:25:10.985" v="358" actId="1035"/>
          <ac:picMkLst>
            <pc:docMk/>
            <pc:sldMk cId="2355376039" sldId="290"/>
            <ac:picMk id="8" creationId="{A1E54786-41B2-8406-7577-C6A4E46BA724}"/>
          </ac:picMkLst>
        </pc:picChg>
      </pc:sldChg>
      <pc:sldChg chg="addSp modSp mod">
        <pc:chgData name="Roberto Gallardo" userId="49a044883f185952" providerId="LiveId" clId="{FA23A5A2-90D5-4BE4-B80D-39A8F1C41292}" dt="2023-03-10T00:25:23.497" v="368" actId="1035"/>
        <pc:sldMkLst>
          <pc:docMk/>
          <pc:sldMk cId="3757257295" sldId="291"/>
        </pc:sldMkLst>
        <pc:picChg chg="add mod">
          <ac:chgData name="Roberto Gallardo" userId="49a044883f185952" providerId="LiveId" clId="{FA23A5A2-90D5-4BE4-B80D-39A8F1C41292}" dt="2023-03-10T00:25:23.497" v="368" actId="1035"/>
          <ac:picMkLst>
            <pc:docMk/>
            <pc:sldMk cId="3757257295" sldId="291"/>
            <ac:picMk id="8" creationId="{589861D6-190E-371F-66F5-1CDDEB7F3F43}"/>
          </ac:picMkLst>
        </pc:picChg>
      </pc:sldChg>
      <pc:sldChg chg="addSp modSp mod">
        <pc:chgData name="Roberto Gallardo" userId="49a044883f185952" providerId="LiveId" clId="{FA23A5A2-90D5-4BE4-B80D-39A8F1C41292}" dt="2023-03-10T00:24:12.954" v="299" actId="1036"/>
        <pc:sldMkLst>
          <pc:docMk/>
          <pc:sldMk cId="1259856727" sldId="292"/>
        </pc:sldMkLst>
        <pc:picChg chg="add mod">
          <ac:chgData name="Roberto Gallardo" userId="49a044883f185952" providerId="LiveId" clId="{FA23A5A2-90D5-4BE4-B80D-39A8F1C41292}" dt="2023-03-10T00:24:12.954" v="299" actId="1036"/>
          <ac:picMkLst>
            <pc:docMk/>
            <pc:sldMk cId="1259856727" sldId="292"/>
            <ac:picMk id="7" creationId="{8BE6FB4D-CA0A-36CC-8E58-388F4CDF17D6}"/>
          </ac:picMkLst>
        </pc:picChg>
      </pc:sldChg>
      <pc:sldChg chg="addSp modSp mod">
        <pc:chgData name="Roberto Gallardo" userId="49a044883f185952" providerId="LiveId" clId="{FA23A5A2-90D5-4BE4-B80D-39A8F1C41292}" dt="2023-03-10T00:22:02.593" v="123" actId="1035"/>
        <pc:sldMkLst>
          <pc:docMk/>
          <pc:sldMk cId="3324519687" sldId="293"/>
        </pc:sldMkLst>
        <pc:picChg chg="add mod">
          <ac:chgData name="Roberto Gallardo" userId="49a044883f185952" providerId="LiveId" clId="{FA23A5A2-90D5-4BE4-B80D-39A8F1C41292}" dt="2023-03-10T00:22:02.593" v="123" actId="1035"/>
          <ac:picMkLst>
            <pc:docMk/>
            <pc:sldMk cId="3324519687" sldId="293"/>
            <ac:picMk id="7" creationId="{CF4E82DE-B3CF-4074-9CB6-12863602A63C}"/>
          </ac:picMkLst>
        </pc:picChg>
      </pc:sldChg>
      <pc:sldChg chg="addSp modSp mod">
        <pc:chgData name="Roberto Gallardo" userId="49a044883f185952" providerId="LiveId" clId="{FA23A5A2-90D5-4BE4-B80D-39A8F1C41292}" dt="2023-03-10T00:21:24.502" v="88" actId="1076"/>
        <pc:sldMkLst>
          <pc:docMk/>
          <pc:sldMk cId="3256182630" sldId="295"/>
        </pc:sldMkLst>
        <pc:picChg chg="add mod">
          <ac:chgData name="Roberto Gallardo" userId="49a044883f185952" providerId="LiveId" clId="{FA23A5A2-90D5-4BE4-B80D-39A8F1C41292}" dt="2023-03-10T00:21:24.502" v="88" actId="1076"/>
          <ac:picMkLst>
            <pc:docMk/>
            <pc:sldMk cId="3256182630" sldId="295"/>
            <ac:picMk id="7" creationId="{B8A06B0E-AF63-0D6C-7B2D-AE9DC0238A2A}"/>
          </ac:picMkLst>
        </pc:picChg>
      </pc:sldChg>
      <pc:sldChg chg="addSp modSp mod">
        <pc:chgData name="Roberto Gallardo" userId="49a044883f185952" providerId="LiveId" clId="{FA23A5A2-90D5-4BE4-B80D-39A8F1C41292}" dt="2023-03-10T00:21:50.137" v="113" actId="1036"/>
        <pc:sldMkLst>
          <pc:docMk/>
          <pc:sldMk cId="4057156843" sldId="296"/>
        </pc:sldMkLst>
        <pc:picChg chg="add mod">
          <ac:chgData name="Roberto Gallardo" userId="49a044883f185952" providerId="LiveId" clId="{FA23A5A2-90D5-4BE4-B80D-39A8F1C41292}" dt="2023-03-10T00:21:50.137" v="113" actId="1036"/>
          <ac:picMkLst>
            <pc:docMk/>
            <pc:sldMk cId="4057156843" sldId="296"/>
            <ac:picMk id="7" creationId="{38E6B39D-0E93-F94E-703F-1040CEB48182}"/>
          </ac:picMkLst>
        </pc:picChg>
      </pc:sldChg>
      <pc:sldChg chg="addSp modSp mod">
        <pc:chgData name="Roberto Gallardo" userId="49a044883f185952" providerId="LiveId" clId="{FA23A5A2-90D5-4BE4-B80D-39A8F1C41292}" dt="2023-03-10T00:21:02.628" v="81" actId="1076"/>
        <pc:sldMkLst>
          <pc:docMk/>
          <pc:sldMk cId="2080110827" sldId="297"/>
        </pc:sldMkLst>
        <pc:picChg chg="add mod">
          <ac:chgData name="Roberto Gallardo" userId="49a044883f185952" providerId="LiveId" clId="{FA23A5A2-90D5-4BE4-B80D-39A8F1C41292}" dt="2023-03-10T00:21:02.628" v="81" actId="1076"/>
          <ac:picMkLst>
            <pc:docMk/>
            <pc:sldMk cId="2080110827" sldId="297"/>
            <ac:picMk id="6" creationId="{AF758E46-3C70-8200-ADB5-FFDD54DDB9F0}"/>
          </ac:picMkLst>
        </pc:picChg>
      </pc:sldChg>
      <pc:sldChg chg="addSp modSp mod">
        <pc:chgData name="Roberto Gallardo" userId="49a044883f185952" providerId="LiveId" clId="{FA23A5A2-90D5-4BE4-B80D-39A8F1C41292}" dt="2023-03-10T00:20:45.645" v="72" actId="1076"/>
        <pc:sldMkLst>
          <pc:docMk/>
          <pc:sldMk cId="1532666867" sldId="298"/>
        </pc:sldMkLst>
        <pc:picChg chg="add mod">
          <ac:chgData name="Roberto Gallardo" userId="49a044883f185952" providerId="LiveId" clId="{FA23A5A2-90D5-4BE4-B80D-39A8F1C41292}" dt="2023-03-10T00:20:45.645" v="72" actId="1076"/>
          <ac:picMkLst>
            <pc:docMk/>
            <pc:sldMk cId="1532666867" sldId="298"/>
            <ac:picMk id="6" creationId="{146E80C5-1D2A-8430-62B5-249F07E462BC}"/>
          </ac:picMkLst>
        </pc:picChg>
      </pc:sldChg>
      <pc:sldChg chg="addSp modSp mod">
        <pc:chgData name="Roberto Gallardo" userId="49a044883f185952" providerId="LiveId" clId="{FA23A5A2-90D5-4BE4-B80D-39A8F1C41292}" dt="2023-03-10T00:24:56.010" v="340" actId="1036"/>
        <pc:sldMkLst>
          <pc:docMk/>
          <pc:sldMk cId="1951376777" sldId="299"/>
        </pc:sldMkLst>
        <pc:picChg chg="add mod">
          <ac:chgData name="Roberto Gallardo" userId="49a044883f185952" providerId="LiveId" clId="{FA23A5A2-90D5-4BE4-B80D-39A8F1C41292}" dt="2023-03-10T00:24:56.010" v="340" actId="1036"/>
          <ac:picMkLst>
            <pc:docMk/>
            <pc:sldMk cId="1951376777" sldId="299"/>
            <ac:picMk id="7" creationId="{B2085D45-F358-9064-AFF1-1975FD66F968}"/>
          </ac:picMkLst>
        </pc:picChg>
      </pc:sldChg>
      <pc:sldChg chg="modSp mod">
        <pc:chgData name="Roberto Gallardo" userId="49a044883f185952" providerId="LiveId" clId="{FA23A5A2-90D5-4BE4-B80D-39A8F1C41292}" dt="2023-02-25T19:46:28.366" v="58" actId="14100"/>
        <pc:sldMkLst>
          <pc:docMk/>
          <pc:sldMk cId="2366022307" sldId="306"/>
        </pc:sldMkLst>
        <pc:spChg chg="mod">
          <ac:chgData name="Roberto Gallardo" userId="49a044883f185952" providerId="LiveId" clId="{FA23A5A2-90D5-4BE4-B80D-39A8F1C41292}" dt="2023-02-25T19:46:10.480" v="29" actId="1035"/>
          <ac:spMkLst>
            <pc:docMk/>
            <pc:sldMk cId="2366022307" sldId="306"/>
            <ac:spMk id="11" creationId="{09F5AE19-B4E3-7788-F25F-CDA80D596DAF}"/>
          </ac:spMkLst>
        </pc:spChg>
        <pc:grpChg chg="mod">
          <ac:chgData name="Roberto Gallardo" userId="49a044883f185952" providerId="LiveId" clId="{FA23A5A2-90D5-4BE4-B80D-39A8F1C41292}" dt="2023-02-25T19:46:04.607" v="9" actId="1036"/>
          <ac:grpSpMkLst>
            <pc:docMk/>
            <pc:sldMk cId="2366022307" sldId="306"/>
            <ac:grpSpMk id="6" creationId="{4BC0EAD3-A621-359E-F822-1BC272A15D80}"/>
          </ac:grpSpMkLst>
        </pc:grpChg>
        <pc:cxnChg chg="mod">
          <ac:chgData name="Roberto Gallardo" userId="49a044883f185952" providerId="LiveId" clId="{FA23A5A2-90D5-4BE4-B80D-39A8F1C41292}" dt="2023-02-25T19:46:24.716" v="57" actId="1036"/>
          <ac:cxnSpMkLst>
            <pc:docMk/>
            <pc:sldMk cId="2366022307" sldId="306"/>
            <ac:cxnSpMk id="27" creationId="{F0CF8142-8895-D0A8-A662-E40568742508}"/>
          </ac:cxnSpMkLst>
        </pc:cxnChg>
        <pc:cxnChg chg="mod">
          <ac:chgData name="Roberto Gallardo" userId="49a044883f185952" providerId="LiveId" clId="{FA23A5A2-90D5-4BE4-B80D-39A8F1C41292}" dt="2023-02-25T19:46:28.366" v="58" actId="14100"/>
          <ac:cxnSpMkLst>
            <pc:docMk/>
            <pc:sldMk cId="2366022307" sldId="306"/>
            <ac:cxnSpMk id="28" creationId="{15C28C80-F0E1-159F-F103-CEA53436F6F9}"/>
          </ac:cxnSpMkLst>
        </pc:cxnChg>
        <pc:cxnChg chg="mod">
          <ac:chgData name="Roberto Gallardo" userId="49a044883f185952" providerId="LiveId" clId="{FA23A5A2-90D5-4BE4-B80D-39A8F1C41292}" dt="2023-02-25T19:46:14.631" v="30"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Scotland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2BBD81E-0C0E-052F-64F6-DDCA8CBA7317}"/>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E008126F-B704-E9DA-999C-5FB72887515D}"/>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5BB462DF-2C44-30CA-A650-AA4880C8C1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46E80C5-1D2A-8430-62B5-249F07E462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AF758E46-3C70-8200-ADB5-FFDD54DDB9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5F58C92-2ABC-B3B7-9685-602D0E3B007A}"/>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B8A06B0E-AF63-0D6C-7B2D-AE9DC0238A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ACBA40D-1BB3-75CE-F21F-5B992F2F8F99}"/>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38E6B39D-0E93-F94E-703F-1040CEB481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8102"/>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2519FB8F-C1A4-8A32-3D4E-688A23F0C133}"/>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CF4E82DE-B3CF-4074-9CB6-12863602A6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5936"/>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E8DF24F-AA99-A1FB-7730-1E9E87569171}"/>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Schematic&#10;&#10;Description automatically generated with low confidence">
            <a:extLst>
              <a:ext uri="{FF2B5EF4-FFF2-40B4-BE49-F238E27FC236}">
                <a16:creationId xmlns:a16="http://schemas.microsoft.com/office/drawing/2014/main" id="{5C3D985C-4A42-7D55-DE1E-4E7633A96E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4095"/>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638820F4-FAA2-FF92-6232-6025B30DF396}"/>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schematic&#10;&#10;Description automatically generated">
            <a:extLst>
              <a:ext uri="{FF2B5EF4-FFF2-40B4-BE49-F238E27FC236}">
                <a16:creationId xmlns:a16="http://schemas.microsoft.com/office/drawing/2014/main" id="{E6446D05-E329-969D-12B1-7DDF27E4AC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4293"/>
            <a:ext cx="6405562" cy="452973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B7767AE9-D1CF-7E73-292E-036BDB6904B0}"/>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text, map&#10;&#10;Description automatically generated">
            <a:extLst>
              <a:ext uri="{FF2B5EF4-FFF2-40B4-BE49-F238E27FC236}">
                <a16:creationId xmlns:a16="http://schemas.microsoft.com/office/drawing/2014/main" id="{64576636-C21E-052A-AD8D-197D853B09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523"/>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F051885A-F19E-AC49-BCBC-E2F14CA499CF}"/>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medium confidence">
            <a:extLst>
              <a:ext uri="{FF2B5EF4-FFF2-40B4-BE49-F238E27FC236}">
                <a16:creationId xmlns:a16="http://schemas.microsoft.com/office/drawing/2014/main" id="{DB216246-B716-53E5-0A52-2292978B9D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97638"/>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9DE256FF-E475-4717-7AA7-DA826E361A12}"/>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chematic&#10;&#10;Description automatically generated">
            <a:extLst>
              <a:ext uri="{FF2B5EF4-FFF2-40B4-BE49-F238E27FC236}">
                <a16:creationId xmlns:a16="http://schemas.microsoft.com/office/drawing/2014/main" id="{CDEC7B12-BFB5-A07A-91D3-4772DE701B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01"/>
            <a:ext cx="6403881" cy="452855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B880193A-1ED3-3097-C81C-02717B45BF61}"/>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schematic&#10;&#10;Description automatically generated">
            <a:extLst>
              <a:ext uri="{FF2B5EF4-FFF2-40B4-BE49-F238E27FC236}">
                <a16:creationId xmlns:a16="http://schemas.microsoft.com/office/drawing/2014/main" id="{BC70C8A5-553E-E6BD-5D35-A735453E1B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4165"/>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C3280108-6FAE-37B8-67C5-ADD207B4DE66}"/>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2D74A49-B944-7F99-11B6-5E2FA6B6C4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872"/>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18D6056F-747F-D8FF-1348-3AF069744AA0}"/>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BE6FB4D-CA0A-36CC-8E58-388F4CDF17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5027"/>
            <a:ext cx="6399481"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4559B251-C492-8F54-2FE5-CE2D46C3E429}"/>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text, map&#10;&#10;Description automatically generated">
            <a:extLst>
              <a:ext uri="{FF2B5EF4-FFF2-40B4-BE49-F238E27FC236}">
                <a16:creationId xmlns:a16="http://schemas.microsoft.com/office/drawing/2014/main" id="{63FB9B1B-D4AC-E30F-BF1F-CD3CF127A2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522"/>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590038CB-878B-B2C4-808F-F0AD6D6ADF5F}"/>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chematic&#10;&#10;Description automatically generated with medium confidence">
            <a:extLst>
              <a:ext uri="{FF2B5EF4-FFF2-40B4-BE49-F238E27FC236}">
                <a16:creationId xmlns:a16="http://schemas.microsoft.com/office/drawing/2014/main" id="{0DB2A5FA-C1B0-88D7-68BE-95C387FB1D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5"/>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7C090187-91D2-B3A3-3261-073FAFF6262B}"/>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B2085D45-F358-9064-AFF1-1975FD66F9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6192"/>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72F21834-A708-ECDC-E029-10B9F77BAD13}"/>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Schematic&#10;&#10;Description automatically generated with medium confidence">
            <a:extLst>
              <a:ext uri="{FF2B5EF4-FFF2-40B4-BE49-F238E27FC236}">
                <a16:creationId xmlns:a16="http://schemas.microsoft.com/office/drawing/2014/main" id="{A1E54786-41B2-8406-7577-C6A4E46BA7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4163"/>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651C9ED-6434-8791-7328-D1E4C1BA4433}"/>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59AF6678-B633-6C49-E906-42936725762B}"/>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Schematic&#10;&#10;Description automatically generated with low confidence">
            <a:extLst>
              <a:ext uri="{FF2B5EF4-FFF2-40B4-BE49-F238E27FC236}">
                <a16:creationId xmlns:a16="http://schemas.microsoft.com/office/drawing/2014/main" id="{589861D6-190E-371F-66F5-1CDDEB7F3F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518"/>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009FDDC1-F3B2-7A2C-7BD2-5AC2DCA19F8E}"/>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03310E4-0F12-42E7-2C8C-7B5EEEB4F0B7}"/>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8B015A0-FAF9-3895-043E-A00A02D3B30D}"/>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9012393" y="2722058"/>
            <a:ext cx="1198148" cy="2176413"/>
            <a:chOff x="10485745" y="2705187"/>
            <a:chExt cx="1198148" cy="21764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9365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8</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7051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705187"/>
              <a:ext cx="0" cy="5884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86211"/>
              <a:ext cx="0" cy="69372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696275"/>
            <a:ext cx="1198148" cy="2200527"/>
            <a:chOff x="2775759" y="2291483"/>
            <a:chExt cx="1198148" cy="22005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7052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9</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914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91483"/>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63078"/>
              <a:ext cx="0" cy="62893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BB7DFF8E-3D68-946E-3826-37B2B8781FC8}"/>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4080CF8-41E2-5FE2-C4C6-E980B1FA4FF8}"/>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93FCF90-7E5F-7253-1BCE-8B0E12DC7422}"/>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E481628D-8E55-C129-15CC-C514E7FBCD02}"/>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0DBD26CD-0E22-261F-66BC-DBDE3FDD262E}"/>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46249316-6303-47A5-B8F2-55064CF331D0}"/>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D3075A23-CF71-7F63-6A2B-C76E010F09D0}"/>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3BAC7450-6E9E-1B61-3B33-846C408A44C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47</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26</cp:revision>
  <dcterms:created xsi:type="dcterms:W3CDTF">2022-07-04T13:32:28Z</dcterms:created>
  <dcterms:modified xsi:type="dcterms:W3CDTF">2023-03-10T00:25:30Z</dcterms:modified>
</cp:coreProperties>
</file>